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50" r:id="rId18"/>
    <p:sldId id="1347" r:id="rId19"/>
  </p:sldIdLst>
  <p:sldSz cx="9144000" cy="6858000" type="screen4x3"/>
  <p:notesSz cx="6797675" cy="9926638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FFFFF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477" autoAdjust="0"/>
    <p:restoredTop sz="94764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1400" y="192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4.05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4.05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4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4.05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emf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1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f"/><Relationship Id="rId4" Type="http://schemas.openxmlformats.org/officeDocument/2006/relationships/image" Target="../media/image10.tif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enti.com/" TargetMode="Externa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statisticscommunicated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9855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elche Werkzeuge braucht der Computer?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Beispiel: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sz="600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Pakete laden: 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4069996"/>
            <a:ext cx="3849773" cy="2320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336986" y="2898860"/>
            <a:ext cx="76864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sz="1300" b="1" dirty="0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  <p:sp>
        <p:nvSpPr>
          <p:cNvPr id="5" name="Geschweifte Klammer links 4">
            <a:extLst>
              <a:ext uri="{FF2B5EF4-FFF2-40B4-BE49-F238E27FC236}">
                <a16:creationId xmlns:a16="http://schemas.microsoft.com/office/drawing/2014/main" id="{8BEAC567-0EDB-2943-9BA9-15CB51A11125}"/>
              </a:ext>
            </a:extLst>
          </p:cNvPr>
          <p:cNvSpPr/>
          <p:nvPr/>
        </p:nvSpPr>
        <p:spPr>
          <a:xfrm rot="16200000">
            <a:off x="1771475" y="2887139"/>
            <a:ext cx="189613" cy="875367"/>
          </a:xfrm>
          <a:prstGeom prst="leftBrace">
            <a:avLst/>
          </a:prstGeom>
          <a:ln w="12700">
            <a:solidFill>
              <a:srgbClr val="186B7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eschweifte Klammer links 13">
            <a:extLst>
              <a:ext uri="{FF2B5EF4-FFF2-40B4-BE49-F238E27FC236}">
                <a16:creationId xmlns:a16="http://schemas.microsoft.com/office/drawing/2014/main" id="{2679A491-B73E-A841-9474-A13FF1FEAA27}"/>
              </a:ext>
            </a:extLst>
          </p:cNvPr>
          <p:cNvSpPr/>
          <p:nvPr/>
        </p:nvSpPr>
        <p:spPr>
          <a:xfrm rot="16200000">
            <a:off x="3019615" y="2725403"/>
            <a:ext cx="189613" cy="1205408"/>
          </a:xfrm>
          <a:prstGeom prst="leftBrace">
            <a:avLst/>
          </a:prstGeom>
          <a:ln w="12700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EE61BD0A-EA5C-1047-BAB9-9925EC9E0F96}"/>
              </a:ext>
            </a:extLst>
          </p:cNvPr>
          <p:cNvSpPr/>
          <p:nvPr/>
        </p:nvSpPr>
        <p:spPr>
          <a:xfrm rot="16200000">
            <a:off x="5272342" y="1729751"/>
            <a:ext cx="189613" cy="3196709"/>
          </a:xfrm>
          <a:prstGeom prst="leftBrace">
            <a:avLst/>
          </a:prstGeom>
          <a:ln w="952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8524C4-A992-B64B-81C0-528E3EE9E39C}"/>
              </a:ext>
            </a:extLst>
          </p:cNvPr>
          <p:cNvSpPr/>
          <p:nvPr/>
        </p:nvSpPr>
        <p:spPr>
          <a:xfrm>
            <a:off x="1740281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3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D45B3CB-F2E8-AD42-BF25-D6A9B1B17985}"/>
              </a:ext>
            </a:extLst>
          </p:cNvPr>
          <p:cNvSpPr/>
          <p:nvPr/>
        </p:nvSpPr>
        <p:spPr>
          <a:xfrm>
            <a:off x="2998469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1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04188A-2E27-B44C-B88B-47C74CF74A16}"/>
              </a:ext>
            </a:extLst>
          </p:cNvPr>
          <p:cNvSpPr/>
          <p:nvPr/>
        </p:nvSpPr>
        <p:spPr>
          <a:xfrm>
            <a:off x="5251196" y="3457415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2</a:t>
            </a:r>
            <a:endParaRPr lang="de-DE" sz="1800" dirty="0">
              <a:solidFill>
                <a:srgbClr val="679E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408083" y="2230304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66210" y="2230304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Gegeben eine Hypothese, 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49706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38300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87432" y="2230304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51084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50395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63496" y="2236199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34171" y="2535544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38989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243118" y="2535543"/>
            <a:ext cx="406588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64331" y="1560664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39478" y="1567883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543323" y="3114303"/>
            <a:ext cx="12786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3124395" y="3115685"/>
            <a:ext cx="13408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730456" y="3114303"/>
            <a:ext cx="13819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ggf.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348622" y="3114303"/>
            <a:ext cx="13023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43022" y="3989324"/>
            <a:ext cx="39263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angelehnt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an das CRISP-DM Modell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87491" y="2242027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52090" y="2541438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46717" y="1847980"/>
            <a:ext cx="9046167" cy="21392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3310" y="1589483"/>
            <a:ext cx="1694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53871" y="3111925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quelle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861491" y="3111631"/>
            <a:ext cx="12982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Kommunikation der Antwort an Stakeholder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807788" y="2966781"/>
            <a:ext cx="1278615" cy="78903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43323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24395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54737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32486" y="2428222"/>
            <a:ext cx="307348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53132" y="2063903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30456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48622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61491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5107" y="2040359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302167" y="2241616"/>
            <a:ext cx="13377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Gelegentlich auch aus 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b="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262626"/>
                </a:solidFill>
                <a:cs typeface="Courier New" panose="02070309020205020404" pitchFamily="49" charset="0"/>
              </a:rPr>
              <a:t>In welchem Ordner befinde ich mich gerade?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wd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cs typeface="Courier New" panose="02070309020205020404" pitchFamily="49" charset="0"/>
              </a:rPr>
              <a:t> zeigt das </a:t>
            </a:r>
            <a:r>
              <a:rPr lang="de-DE" sz="1600" i="1" dirty="0" err="1">
                <a:cs typeface="Courier New" panose="02070309020205020404" pitchFamily="49" charset="0"/>
              </a:rPr>
              <a:t>working</a:t>
            </a:r>
            <a:r>
              <a:rPr lang="de-DE" sz="1600" i="1" dirty="0">
                <a:cs typeface="Courier New" panose="02070309020205020404" pitchFamily="49" charset="0"/>
              </a:rPr>
              <a:t> </a:t>
            </a:r>
            <a:r>
              <a:rPr lang="de-DE" sz="1600" i="1" dirty="0" err="1">
                <a:cs typeface="Courier New" panose="02070309020205020404" pitchFamily="49" charset="0"/>
              </a:rPr>
              <a:t>directory</a:t>
            </a:r>
            <a:r>
              <a:rPr lang="de-DE" sz="1600" dirty="0">
                <a:cs typeface="Courier New" panose="02070309020205020404" pitchFamily="49" charset="0"/>
              </a:rPr>
              <a:t> von </a:t>
            </a:r>
            <a:r>
              <a:rPr lang="de-DE" sz="1600" dirty="0" err="1">
                <a:cs typeface="Courier New" panose="02070309020205020404" pitchFamily="49" charset="0"/>
              </a:rPr>
              <a:t>RStudio</a:t>
            </a:r>
            <a:r>
              <a:rPr lang="de-DE" sz="1600" dirty="0">
                <a:cs typeface="Courier New" panose="02070309020205020404" pitchFamily="49" charset="0"/>
              </a:rPr>
              <a:t> a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twd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cs typeface="Courier New" panose="02070309020205020404" pitchFamily="49" charset="0"/>
              </a:rPr>
              <a:t> setzt das </a:t>
            </a:r>
            <a:r>
              <a:rPr lang="de-DE" sz="1600" i="1" dirty="0" err="1">
                <a:cs typeface="Courier New" panose="02070309020205020404" pitchFamily="49" charset="0"/>
              </a:rPr>
              <a:t>working</a:t>
            </a:r>
            <a:r>
              <a:rPr lang="de-DE" sz="1600" i="1" dirty="0">
                <a:cs typeface="Courier New" panose="02070309020205020404" pitchFamily="49" charset="0"/>
              </a:rPr>
              <a:t> </a:t>
            </a:r>
            <a:r>
              <a:rPr lang="de-DE" sz="1600" i="1" dirty="0" err="1">
                <a:cs typeface="Courier New" panose="02070309020205020404" pitchFamily="49" charset="0"/>
              </a:rPr>
              <a:t>directory</a:t>
            </a:r>
            <a:endParaRPr lang="de-DE" sz="1600" b="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marL="611188" lvl="3" indent="-342900"/>
            <a:endParaRPr lang="de-DE" sz="16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260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F2A2259-CE9D-F445-A30F-9478AB471F83}"/>
              </a:ext>
            </a:extLst>
          </p:cNvPr>
          <p:cNvSpPr/>
          <p:nvPr/>
        </p:nvSpPr>
        <p:spPr>
          <a:xfrm>
            <a:off x="7124688" y="1053047"/>
            <a:ext cx="1721639" cy="184255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anipulation &amp; Transformation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*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 indent="0">
              <a:buClr>
                <a:srgbClr val="00998A"/>
              </a:buClr>
              <a:buNone/>
            </a:pPr>
            <a:endParaRPr lang="de-DE" sz="160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lvl="2" indent="0">
              <a:buClr>
                <a:srgbClr val="00998A"/>
              </a:buClr>
              <a:buNone/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*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wird automatisch durch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geladen</a:t>
            </a:r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52F6A79-655D-974F-9383-1EEF98C21D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8814" y="4478137"/>
            <a:ext cx="2451251" cy="115253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35582650-34DB-E942-B24E-BE9E09BBBC67}"/>
              </a:ext>
            </a:extLst>
          </p:cNvPr>
          <p:cNvSpPr/>
          <p:nvPr/>
        </p:nvSpPr>
        <p:spPr>
          <a:xfrm>
            <a:off x="7124688" y="1053047"/>
            <a:ext cx="1721639" cy="184255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800" b="0" dirty="0">
                <a:solidFill>
                  <a:schemeClr val="tx1"/>
                </a:solidFill>
              </a:rPr>
              <a:t>Zusammenfassung 	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2290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</a:t>
            </a:r>
            <a:r>
              <a:rPr lang="de-DE" sz="1600"/>
              <a:t>„CS3-Visualisierungen-basics“</a:t>
            </a:r>
            <a:endParaRPr lang="de-DE" sz="1600" dirty="0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11" name="Grafik 110">
            <a:extLst>
              <a:ext uri="{FF2B5EF4-FFF2-40B4-BE49-F238E27FC236}">
                <a16:creationId xmlns:a16="http://schemas.microsoft.com/office/drawing/2014/main" id="{ECD02D50-B96C-1B40-8D4C-3870C09C2D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188" y="4178942"/>
            <a:ext cx="2469182" cy="1858596"/>
          </a:xfrm>
          <a:prstGeom prst="rect">
            <a:avLst/>
          </a:prstGeom>
        </p:spPr>
      </p:pic>
      <p:sp>
        <p:nvSpPr>
          <p:cNvPr id="112" name="Rechteck 111">
            <a:extLst>
              <a:ext uri="{FF2B5EF4-FFF2-40B4-BE49-F238E27FC236}">
                <a16:creationId xmlns:a16="http://schemas.microsoft.com/office/drawing/2014/main" id="{4D3E5ADD-3B7A-0743-BD53-0A7E464924EC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361A50C-F213-C54C-A2E4-C5510A02D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tatistische Hypothesentests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teils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p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Mittelwert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Chi</a:t>
            </a:r>
            <a:r>
              <a:rPr lang="de-DE" sz="1600" baseline="30000" dirty="0"/>
              <a:t>2</a:t>
            </a:r>
            <a:r>
              <a:rPr lang="de-DE" sz="1600" dirty="0"/>
              <a:t>-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xchisq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OVA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ov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odellierung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ineare Regression	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m(),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ogistische Regression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mil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„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inomia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Modell plotten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otMode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302168" y="2235722"/>
            <a:ext cx="1349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FF1C8E-22DE-BC41-9B11-A11F1ABCCCCE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C10BEC16-260F-5945-B924-31C5390B82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46" y="4101362"/>
            <a:ext cx="2879281" cy="1907713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01F2D16F-0205-1146-9AC8-4CA2638B9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82846F13-2D9A-794B-9A32-266A957B1D90}"/>
              </a:ext>
            </a:extLst>
          </p:cNvPr>
          <p:cNvSpPr/>
          <p:nvPr/>
        </p:nvSpPr>
        <p:spPr>
          <a:xfrm>
            <a:off x="593970" y="5479286"/>
            <a:ext cx="36263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4_Daten_modellieren.pdf“</a:t>
            </a: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497DD5ED-1EE0-7848-BD2D-977F8269F0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89" name="Rechteck 88">
            <a:extLst>
              <a:ext uri="{FF2B5EF4-FFF2-40B4-BE49-F238E27FC236}">
                <a16:creationId xmlns:a16="http://schemas.microsoft.com/office/drawing/2014/main" id="{1A62EC60-65BD-5E40-BDFA-AA108C8BBACE}"/>
              </a:ext>
            </a:extLst>
          </p:cNvPr>
          <p:cNvSpPr/>
          <p:nvPr/>
        </p:nvSpPr>
        <p:spPr>
          <a:xfrm>
            <a:off x="591040" y="6046222"/>
            <a:ext cx="76322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4-Datenanalyse-mit-Mosaic“ (Abschnitt Inferenz / Modellierung)</a:t>
            </a: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Quiz-Time</a:t>
            </a:r>
          </a:p>
          <a:p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  <a:hlinkClick r:id="rId2"/>
              </a:rPr>
              <a:t>www.menti.com</a:t>
            </a:r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82288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,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 &amp; AI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://www.statisticscommunicated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594105"/>
            <a:ext cx="8315181" cy="823859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9961433"/>
              </p:ext>
            </p:extLst>
          </p:nvPr>
        </p:nvGraphicFramePr>
        <p:xfrm>
          <a:off x="114171" y="1067098"/>
          <a:ext cx="8067402" cy="4301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endParaRPr lang="de-DE" sz="1200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1113">
                        <a:tabLst/>
                      </a:pPr>
                      <a:r>
                        <a:rPr lang="de-DE" sz="1400" dirty="0"/>
                        <a:t>Quiz-Time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33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E57FFD0C-9D85-7F45-884F-8FDD885FA20A}"/>
              </a:ext>
            </a:extLst>
          </p:cNvPr>
          <p:cNvSpPr txBox="1">
            <a:spLocks/>
          </p:cNvSpPr>
          <p:nvPr/>
        </p:nvSpPr>
        <p:spPr bwMode="auto">
          <a:xfrm>
            <a:off x="241314" y="4277457"/>
            <a:ext cx="5151301" cy="1372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2">
              <a:buFont typeface="Arial" panose="020B0604020202020204" pitchFamily="34" charset="0"/>
              <a:buChar char="•"/>
            </a:pPr>
            <a:r>
              <a:rPr lang="de-DE" kern="0" dirty="0"/>
              <a:t>Hilfestellung gibt es unter </a:t>
            </a:r>
            <a:r>
              <a:rPr lang="de-DE" dirty="0" err="1"/>
              <a:t>R@fom.de</a:t>
            </a:r>
            <a:r>
              <a:rPr lang="de-DE" dirty="0"/>
              <a:t>.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72028" y="5506707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Konso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104307" y="4489938"/>
            <a:ext cx="686393" cy="117065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72027" y="2278972"/>
            <a:ext cx="6527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ditor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924770" y="2432860"/>
            <a:ext cx="865930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1114873"/>
            <a:ext cx="18870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gebung &amp; Histori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08431" y="1422650"/>
            <a:ext cx="406663" cy="8786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222129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Misc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: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Datei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Abbildung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Paket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Hilf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Viewer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93876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05</Words>
  <Application>Microsoft Macintosh PowerPoint</Application>
  <PresentationFormat>Bildschirmpräsentation (4:3)</PresentationFormat>
  <Paragraphs>313</Paragraphs>
  <Slides>18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2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703</cp:revision>
  <cp:lastPrinted>2013-02-22T13:48:11Z</cp:lastPrinted>
  <dcterms:created xsi:type="dcterms:W3CDTF">2017-12-20T06:53:29Z</dcterms:created>
  <dcterms:modified xsi:type="dcterms:W3CDTF">2019-05-04T10:25:34Z</dcterms:modified>
  <cp:version>20140523</cp:version>
</cp:coreProperties>
</file>